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3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60DDE-C07C-4483-95BE-92BC2F2176D0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7E303-F132-4FFA-A0C8-1E13E3005AB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2955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616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36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30072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16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64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4460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81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021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5.png"/><Relationship Id="rId3" Type="http://schemas.openxmlformats.org/officeDocument/2006/relationships/tags" Target="../tags/tag6.xml"/><Relationship Id="rId21" Type="http://schemas.openxmlformats.org/officeDocument/2006/relationships/image" Target="../media/image8.sv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5" Type="http://schemas.openxmlformats.org/officeDocument/2006/relationships/image" Target="../media/image12.svg"/><Relationship Id="rId2" Type="http://schemas.openxmlformats.org/officeDocument/2006/relationships/tags" Target="../tags/tag5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1.png"/><Relationship Id="rId5" Type="http://schemas.openxmlformats.org/officeDocument/2006/relationships/tags" Target="../tags/tag8.xml"/><Relationship Id="rId15" Type="http://schemas.openxmlformats.org/officeDocument/2006/relationships/notesSlide" Target="../notesSlides/notesSlide1.xml"/><Relationship Id="rId23" Type="http://schemas.openxmlformats.org/officeDocument/2006/relationships/image" Target="../media/image10.svg"/><Relationship Id="rId10" Type="http://schemas.openxmlformats.org/officeDocument/2006/relationships/tags" Target="../tags/tag13.xml"/><Relationship Id="rId19" Type="http://schemas.openxmlformats.org/officeDocument/2006/relationships/image" Target="../media/image6.sv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slideLayout" Target="../slideLayouts/slideLayout5.xml"/><Relationship Id="rId22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16" imgW="349" imgH="350" progId="TCLayout.ActiveDocument.1">
                  <p:embed/>
                </p:oleObj>
              </mc:Choice>
              <mc:Fallback>
                <p:oleObj name="think-cell 幻灯片" r:id="rId1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2" name="Gruppieren 41">
            <a:extLst>
              <a:ext uri="{FF2B5EF4-FFF2-40B4-BE49-F238E27FC236}">
                <a16:creationId xmlns:a16="http://schemas.microsoft.com/office/drawing/2014/main" id="{033E6FBD-D4D7-3B86-55B0-A8FEDBE27F3E}"/>
              </a:ext>
            </a:extLst>
          </p:cNvPr>
          <p:cNvGrpSpPr>
            <a:grpSpLocks/>
          </p:cNvGrpSpPr>
          <p:nvPr/>
        </p:nvGrpSpPr>
        <p:grpSpPr>
          <a:xfrm>
            <a:off x="1413832" y="2270261"/>
            <a:ext cx="2833372" cy="603838"/>
            <a:chOff x="1101249" y="1981108"/>
            <a:chExt cx="2895398" cy="617057"/>
          </a:xfrm>
        </p:grpSpPr>
        <p:sp>
          <p:nvSpPr>
            <p:cNvPr id="3" name="TextBox 17">
              <a:extLst>
                <a:ext uri="{FF2B5EF4-FFF2-40B4-BE49-F238E27FC236}">
                  <a16:creationId xmlns:a16="http://schemas.microsoft.com/office/drawing/2014/main" id="{A80EA349-36C8-72B9-C542-41C9B7915B37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101249" y="198110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Futura"/>
                </a:rPr>
                <a:t>{bullet_1}</a:t>
              </a:r>
            </a:p>
          </p:txBody>
        </p:sp>
        <p:sp>
          <p:nvSpPr>
            <p:cNvPr id="4" name="Subtitle 2">
              <a:extLst>
                <a:ext uri="{FF2B5EF4-FFF2-40B4-BE49-F238E27FC236}">
                  <a16:creationId xmlns:a16="http://schemas.microsoft.com/office/drawing/2014/main" id="{18385E52-A066-7852-58C8-3B253E86A668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101249" y="2228833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Open Sans Light"/>
                </a:rPr>
                <a:t>{bullet_1_content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sp>
        <p:nvSpPr>
          <p:cNvPr id="17" name="TextBox 27">
            <a:extLst>
              <a:ext uri="{FF2B5EF4-FFF2-40B4-BE49-F238E27FC236}">
                <a16:creationId xmlns:a16="http://schemas.microsoft.com/office/drawing/2014/main" id="{A48BAC46-9E0B-C470-9B57-322988D6CDB6}"/>
              </a:ext>
            </a:extLst>
          </p:cNvPr>
          <p:cNvSpPr txBox="1">
            <a:spLocks/>
          </p:cNvSpPr>
          <p:nvPr/>
        </p:nvSpPr>
        <p:spPr>
          <a:xfrm>
            <a:off x="8305245" y="3648348"/>
            <a:ext cx="3358071" cy="36142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</p:txBody>
      </p:sp>
      <p:sp>
        <p:nvSpPr>
          <p:cNvPr id="18" name="Freeform 33">
            <a:extLst>
              <a:ext uri="{FF2B5EF4-FFF2-40B4-BE49-F238E27FC236}">
                <a16:creationId xmlns:a16="http://schemas.microsoft.com/office/drawing/2014/main" id="{A313A6FE-CFA5-A27E-11C1-210C08DAD51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889552" y="3043422"/>
            <a:ext cx="2405766" cy="1182345"/>
          </a:xfrm>
          <a:custGeom>
            <a:avLst/>
            <a:gdLst>
              <a:gd name="T0" fmla="*/ 287 w 584"/>
              <a:gd name="T1" fmla="*/ 243 h 243"/>
              <a:gd name="T2" fmla="*/ 498 w 584"/>
              <a:gd name="T3" fmla="*/ 208 h 243"/>
              <a:gd name="T4" fmla="*/ 584 w 584"/>
              <a:gd name="T5" fmla="*/ 0 h 243"/>
              <a:gd name="T6" fmla="*/ 291 w 584"/>
              <a:gd name="T7" fmla="*/ 33 h 243"/>
              <a:gd name="T8" fmla="*/ 0 w 584"/>
              <a:gd name="T9" fmla="*/ 0 h 243"/>
              <a:gd name="T10" fmla="*/ 84 w 584"/>
              <a:gd name="T11" fmla="*/ 211 h 243"/>
              <a:gd name="T12" fmla="*/ 287 w 584"/>
              <a:gd name="T1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84" h="243">
                <a:moveTo>
                  <a:pt x="287" y="243"/>
                </a:moveTo>
                <a:cubicBezTo>
                  <a:pt x="379" y="243"/>
                  <a:pt x="458" y="229"/>
                  <a:pt x="498" y="208"/>
                </a:cubicBezTo>
                <a:cubicBezTo>
                  <a:pt x="519" y="141"/>
                  <a:pt x="547" y="71"/>
                  <a:pt x="584" y="0"/>
                </a:cubicBezTo>
                <a:cubicBezTo>
                  <a:pt x="526" y="19"/>
                  <a:pt x="417" y="33"/>
                  <a:pt x="291" y="33"/>
                </a:cubicBezTo>
                <a:cubicBezTo>
                  <a:pt x="167" y="33"/>
                  <a:pt x="59" y="20"/>
                  <a:pt x="0" y="0"/>
                </a:cubicBezTo>
                <a:cubicBezTo>
                  <a:pt x="29" y="60"/>
                  <a:pt x="59" y="130"/>
                  <a:pt x="84" y="211"/>
                </a:cubicBezTo>
                <a:cubicBezTo>
                  <a:pt x="125" y="231"/>
                  <a:pt x="201" y="243"/>
                  <a:pt x="287" y="243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Freeform 34">
            <a:extLst>
              <a:ext uri="{FF2B5EF4-FFF2-40B4-BE49-F238E27FC236}">
                <a16:creationId xmlns:a16="http://schemas.microsoft.com/office/drawing/2014/main" id="{A3949B83-9404-D89E-A931-BDDD784E8E6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234372" y="4056721"/>
            <a:ext cx="1705827" cy="1167033"/>
          </a:xfrm>
          <a:custGeom>
            <a:avLst/>
            <a:gdLst>
              <a:gd name="T0" fmla="*/ 203 w 414"/>
              <a:gd name="T1" fmla="*/ 35 h 240"/>
              <a:gd name="T2" fmla="*/ 0 w 414"/>
              <a:gd name="T3" fmla="*/ 3 h 240"/>
              <a:gd name="T4" fmla="*/ 46 w 414"/>
              <a:gd name="T5" fmla="*/ 204 h 240"/>
              <a:gd name="T6" fmla="*/ 49 w 414"/>
              <a:gd name="T7" fmla="*/ 215 h 240"/>
              <a:gd name="T8" fmla="*/ 205 w 414"/>
              <a:gd name="T9" fmla="*/ 240 h 240"/>
              <a:gd name="T10" fmla="*/ 354 w 414"/>
              <a:gd name="T11" fmla="*/ 217 h 240"/>
              <a:gd name="T12" fmla="*/ 362 w 414"/>
              <a:gd name="T13" fmla="*/ 214 h 240"/>
              <a:gd name="T14" fmla="*/ 376 w 414"/>
              <a:gd name="T15" fmla="*/ 139 h 240"/>
              <a:gd name="T16" fmla="*/ 414 w 414"/>
              <a:gd name="T17" fmla="*/ 0 h 240"/>
              <a:gd name="T18" fmla="*/ 203 w 414"/>
              <a:gd name="T19" fmla="*/ 35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4" h="240">
                <a:moveTo>
                  <a:pt x="203" y="35"/>
                </a:moveTo>
                <a:cubicBezTo>
                  <a:pt x="117" y="35"/>
                  <a:pt x="41" y="23"/>
                  <a:pt x="0" y="3"/>
                </a:cubicBezTo>
                <a:cubicBezTo>
                  <a:pt x="18" y="64"/>
                  <a:pt x="35" y="131"/>
                  <a:pt x="46" y="204"/>
                </a:cubicBezTo>
                <a:cubicBezTo>
                  <a:pt x="47" y="208"/>
                  <a:pt x="48" y="211"/>
                  <a:pt x="49" y="215"/>
                </a:cubicBezTo>
                <a:cubicBezTo>
                  <a:pt x="85" y="230"/>
                  <a:pt x="142" y="240"/>
                  <a:pt x="205" y="240"/>
                </a:cubicBezTo>
                <a:cubicBezTo>
                  <a:pt x="264" y="240"/>
                  <a:pt x="317" y="231"/>
                  <a:pt x="354" y="217"/>
                </a:cubicBezTo>
                <a:cubicBezTo>
                  <a:pt x="357" y="216"/>
                  <a:pt x="359" y="215"/>
                  <a:pt x="362" y="214"/>
                </a:cubicBezTo>
                <a:cubicBezTo>
                  <a:pt x="366" y="190"/>
                  <a:pt x="371" y="165"/>
                  <a:pt x="376" y="139"/>
                </a:cubicBezTo>
                <a:cubicBezTo>
                  <a:pt x="386" y="96"/>
                  <a:pt x="398" y="49"/>
                  <a:pt x="414" y="0"/>
                </a:cubicBezTo>
                <a:cubicBezTo>
                  <a:pt x="374" y="21"/>
                  <a:pt x="295" y="35"/>
                  <a:pt x="203" y="35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80168" tIns="40084" rIns="80168" bIns="4008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5E74D1E2-70CF-66F9-32A9-24B7747283AA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4242543" y="1557338"/>
            <a:ext cx="3718024" cy="1651254"/>
            <a:chOff x="3990355" y="1893606"/>
            <a:chExt cx="4208222" cy="1585475"/>
          </a:xfrm>
        </p:grpSpPr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CA0E4D63-D793-5687-42E0-0F0EA6BD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355" y="1893606"/>
              <a:ext cx="4208222" cy="612542"/>
            </a:xfrm>
            <a:custGeom>
              <a:avLst/>
              <a:gdLst>
                <a:gd name="T0" fmla="*/ 452 w 903"/>
                <a:gd name="T1" fmla="*/ 0 h 131"/>
                <a:gd name="T2" fmla="*/ 0 w 903"/>
                <a:gd name="T3" fmla="*/ 65 h 131"/>
                <a:gd name="T4" fmla="*/ 11 w 903"/>
                <a:gd name="T5" fmla="*/ 80 h 131"/>
                <a:gd name="T6" fmla="*/ 452 w 903"/>
                <a:gd name="T7" fmla="*/ 131 h 131"/>
                <a:gd name="T8" fmla="*/ 686 w 903"/>
                <a:gd name="T9" fmla="*/ 121 h 131"/>
                <a:gd name="T10" fmla="*/ 686 w 903"/>
                <a:gd name="T11" fmla="*/ 121 h 131"/>
                <a:gd name="T12" fmla="*/ 753 w 903"/>
                <a:gd name="T13" fmla="*/ 114 h 131"/>
                <a:gd name="T14" fmla="*/ 753 w 903"/>
                <a:gd name="T15" fmla="*/ 114 h 131"/>
                <a:gd name="T16" fmla="*/ 760 w 903"/>
                <a:gd name="T17" fmla="*/ 113 h 131"/>
                <a:gd name="T18" fmla="*/ 761 w 903"/>
                <a:gd name="T19" fmla="*/ 113 h 131"/>
                <a:gd name="T20" fmla="*/ 768 w 903"/>
                <a:gd name="T21" fmla="*/ 112 h 131"/>
                <a:gd name="T22" fmla="*/ 768 w 903"/>
                <a:gd name="T23" fmla="*/ 112 h 131"/>
                <a:gd name="T24" fmla="*/ 775 w 903"/>
                <a:gd name="T25" fmla="*/ 111 h 131"/>
                <a:gd name="T26" fmla="*/ 776 w 903"/>
                <a:gd name="T27" fmla="*/ 111 h 131"/>
                <a:gd name="T28" fmla="*/ 783 w 903"/>
                <a:gd name="T29" fmla="*/ 110 h 131"/>
                <a:gd name="T30" fmla="*/ 783 w 903"/>
                <a:gd name="T31" fmla="*/ 110 h 131"/>
                <a:gd name="T32" fmla="*/ 893 w 903"/>
                <a:gd name="T33" fmla="*/ 80 h 131"/>
                <a:gd name="T34" fmla="*/ 903 w 903"/>
                <a:gd name="T35" fmla="*/ 65 h 131"/>
                <a:gd name="T36" fmla="*/ 452 w 903"/>
                <a:gd name="T3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3" h="131">
                  <a:moveTo>
                    <a:pt x="452" y="0"/>
                  </a:moveTo>
                  <a:cubicBezTo>
                    <a:pt x="203" y="0"/>
                    <a:pt x="0" y="29"/>
                    <a:pt x="0" y="65"/>
                  </a:cubicBezTo>
                  <a:cubicBezTo>
                    <a:pt x="0" y="70"/>
                    <a:pt x="4" y="75"/>
                    <a:pt x="11" y="80"/>
                  </a:cubicBezTo>
                  <a:cubicBezTo>
                    <a:pt x="56" y="109"/>
                    <a:pt x="236" y="131"/>
                    <a:pt x="452" y="131"/>
                  </a:cubicBezTo>
                  <a:cubicBezTo>
                    <a:pt x="538" y="131"/>
                    <a:pt x="618" y="127"/>
                    <a:pt x="686" y="121"/>
                  </a:cubicBezTo>
                  <a:cubicBezTo>
                    <a:pt x="686" y="121"/>
                    <a:pt x="686" y="121"/>
                    <a:pt x="686" y="121"/>
                  </a:cubicBezTo>
                  <a:cubicBezTo>
                    <a:pt x="710" y="119"/>
                    <a:pt x="732" y="117"/>
                    <a:pt x="753" y="114"/>
                  </a:cubicBezTo>
                  <a:cubicBezTo>
                    <a:pt x="753" y="114"/>
                    <a:pt x="753" y="114"/>
                    <a:pt x="753" y="114"/>
                  </a:cubicBezTo>
                  <a:cubicBezTo>
                    <a:pt x="756" y="114"/>
                    <a:pt x="758" y="114"/>
                    <a:pt x="760" y="113"/>
                  </a:cubicBezTo>
                  <a:cubicBezTo>
                    <a:pt x="761" y="113"/>
                    <a:pt x="761" y="113"/>
                    <a:pt x="761" y="113"/>
                  </a:cubicBezTo>
                  <a:cubicBezTo>
                    <a:pt x="763" y="113"/>
                    <a:pt x="766" y="113"/>
                    <a:pt x="768" y="112"/>
                  </a:cubicBezTo>
                  <a:cubicBezTo>
                    <a:pt x="768" y="112"/>
                    <a:pt x="768" y="112"/>
                    <a:pt x="768" y="112"/>
                  </a:cubicBezTo>
                  <a:cubicBezTo>
                    <a:pt x="771" y="112"/>
                    <a:pt x="773" y="111"/>
                    <a:pt x="775" y="111"/>
                  </a:cubicBezTo>
                  <a:cubicBezTo>
                    <a:pt x="776" y="111"/>
                    <a:pt x="776" y="111"/>
                    <a:pt x="776" y="111"/>
                  </a:cubicBezTo>
                  <a:cubicBezTo>
                    <a:pt x="778" y="111"/>
                    <a:pt x="780" y="110"/>
                    <a:pt x="783" y="110"/>
                  </a:cubicBezTo>
                  <a:cubicBezTo>
                    <a:pt x="783" y="110"/>
                    <a:pt x="783" y="110"/>
                    <a:pt x="783" y="110"/>
                  </a:cubicBezTo>
                  <a:cubicBezTo>
                    <a:pt x="836" y="102"/>
                    <a:pt x="875" y="91"/>
                    <a:pt x="893" y="80"/>
                  </a:cubicBezTo>
                  <a:cubicBezTo>
                    <a:pt x="900" y="75"/>
                    <a:pt x="903" y="70"/>
                    <a:pt x="903" y="65"/>
                  </a:cubicBezTo>
                  <a:cubicBezTo>
                    <a:pt x="903" y="29"/>
                    <a:pt x="701" y="0"/>
                    <a:pt x="452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Oval 32">
              <a:extLst>
                <a:ext uri="{FF2B5EF4-FFF2-40B4-BE49-F238E27FC236}">
                  <a16:creationId xmlns:a16="http://schemas.microsoft.com/office/drawing/2014/main" id="{7CAAB76B-7B5F-4713-82C1-7C553F945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31" y="2053551"/>
              <a:ext cx="2857153" cy="34139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F148FB96-7CE6-0256-9B39-FD84D3B2C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625" y="2265431"/>
              <a:ext cx="4108687" cy="1213650"/>
            </a:xfrm>
            <a:custGeom>
              <a:avLst/>
              <a:gdLst>
                <a:gd name="T0" fmla="*/ 882 w 882"/>
                <a:gd name="T1" fmla="*/ 0 h 260"/>
                <a:gd name="T2" fmla="*/ 798 w 882"/>
                <a:gd name="T3" fmla="*/ 25 h 260"/>
                <a:gd name="T4" fmla="*/ 675 w 882"/>
                <a:gd name="T5" fmla="*/ 41 h 260"/>
                <a:gd name="T6" fmla="*/ 441 w 882"/>
                <a:gd name="T7" fmla="*/ 51 h 260"/>
                <a:gd name="T8" fmla="*/ 0 w 882"/>
                <a:gd name="T9" fmla="*/ 0 h 260"/>
                <a:gd name="T10" fmla="*/ 0 w 882"/>
                <a:gd name="T11" fmla="*/ 0 h 260"/>
                <a:gd name="T12" fmla="*/ 146 w 882"/>
                <a:gd name="T13" fmla="*/ 227 h 260"/>
                <a:gd name="T14" fmla="*/ 437 w 882"/>
                <a:gd name="T15" fmla="*/ 260 h 260"/>
                <a:gd name="T16" fmla="*/ 604 w 882"/>
                <a:gd name="T17" fmla="*/ 251 h 260"/>
                <a:gd name="T18" fmla="*/ 683 w 882"/>
                <a:gd name="T19" fmla="*/ 239 h 260"/>
                <a:gd name="T20" fmla="*/ 730 w 882"/>
                <a:gd name="T21" fmla="*/ 227 h 260"/>
                <a:gd name="T22" fmla="*/ 882 w 882"/>
                <a:gd name="T23" fmla="*/ 0 h 260"/>
                <a:gd name="T24" fmla="*/ 882 w 882"/>
                <a:gd name="T25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2" h="260">
                  <a:moveTo>
                    <a:pt x="882" y="0"/>
                  </a:moveTo>
                  <a:cubicBezTo>
                    <a:pt x="867" y="9"/>
                    <a:pt x="838" y="18"/>
                    <a:pt x="798" y="25"/>
                  </a:cubicBezTo>
                  <a:cubicBezTo>
                    <a:pt x="765" y="32"/>
                    <a:pt x="723" y="37"/>
                    <a:pt x="675" y="41"/>
                  </a:cubicBezTo>
                  <a:cubicBezTo>
                    <a:pt x="607" y="47"/>
                    <a:pt x="527" y="51"/>
                    <a:pt x="441" y="51"/>
                  </a:cubicBezTo>
                  <a:cubicBezTo>
                    <a:pt x="225" y="51"/>
                    <a:pt x="45" y="29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3" y="78"/>
                    <a:pt x="146" y="227"/>
                  </a:cubicBezTo>
                  <a:cubicBezTo>
                    <a:pt x="205" y="247"/>
                    <a:pt x="313" y="260"/>
                    <a:pt x="437" y="260"/>
                  </a:cubicBezTo>
                  <a:cubicBezTo>
                    <a:pt x="498" y="260"/>
                    <a:pt x="555" y="257"/>
                    <a:pt x="604" y="251"/>
                  </a:cubicBezTo>
                  <a:cubicBezTo>
                    <a:pt x="634" y="248"/>
                    <a:pt x="660" y="244"/>
                    <a:pt x="683" y="239"/>
                  </a:cubicBezTo>
                  <a:cubicBezTo>
                    <a:pt x="701" y="235"/>
                    <a:pt x="717" y="231"/>
                    <a:pt x="730" y="227"/>
                  </a:cubicBezTo>
                  <a:cubicBezTo>
                    <a:pt x="770" y="150"/>
                    <a:pt x="819" y="73"/>
                    <a:pt x="882" y="0"/>
                  </a:cubicBezTo>
                  <a:cubicBezTo>
                    <a:pt x="882" y="0"/>
                    <a:pt x="882" y="0"/>
                    <a:pt x="882" y="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80168" tIns="40084" rIns="80168" bIns="4008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5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pic>
        <p:nvPicPr>
          <p:cNvPr id="24" name="Grafik 27">
            <a:extLst>
              <a:ext uri="{FF2B5EF4-FFF2-40B4-BE49-F238E27FC236}">
                <a16:creationId xmlns:a16="http://schemas.microsoft.com/office/drawing/2014/main" id="{84AE7461-94CA-04EC-2C76-0964E92D96D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87238" y="3407748"/>
            <a:ext cx="637955" cy="637955"/>
          </a:xfrm>
          <a:prstGeom prst="rect">
            <a:avLst/>
          </a:prstGeom>
        </p:spPr>
      </p:pic>
      <p:pic>
        <p:nvPicPr>
          <p:cNvPr id="25" name="Grafik 29">
            <a:extLst>
              <a:ext uri="{FF2B5EF4-FFF2-40B4-BE49-F238E27FC236}">
                <a16:creationId xmlns:a16="http://schemas.microsoft.com/office/drawing/2014/main" id="{44FE73B8-0FFF-A2A6-099B-E9515499FC2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787238" y="2420779"/>
            <a:ext cx="637955" cy="637955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79DAE9C9-FF56-01CA-012F-3E1BE0ABE4D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787238" y="5419945"/>
            <a:ext cx="637955" cy="637955"/>
          </a:xfrm>
          <a:prstGeom prst="rect">
            <a:avLst/>
          </a:prstGeom>
        </p:spPr>
      </p:pic>
      <p:pic>
        <p:nvPicPr>
          <p:cNvPr id="27" name="Grafik 33">
            <a:extLst>
              <a:ext uri="{FF2B5EF4-FFF2-40B4-BE49-F238E27FC236}">
                <a16:creationId xmlns:a16="http://schemas.microsoft.com/office/drawing/2014/main" id="{0712B2D2-9EC6-C674-C8D5-DE070EBBCC7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787238" y="4373902"/>
            <a:ext cx="637955" cy="637955"/>
          </a:xfrm>
          <a:prstGeom prst="rect">
            <a:avLst/>
          </a:prstGeom>
        </p:spPr>
      </p:pic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68B6745B-CF33-344B-07A6-A52C7215B75D}"/>
              </a:ext>
            </a:extLst>
          </p:cNvPr>
          <p:cNvSpPr txBox="1">
            <a:spLocks/>
          </p:cNvSpPr>
          <p:nvPr/>
        </p:nvSpPr>
        <p:spPr>
          <a:xfrm>
            <a:off x="8305245" y="4104651"/>
            <a:ext cx="335807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</a:p>
        </p:txBody>
      </p:sp>
      <p:sp>
        <p:nvSpPr>
          <p:cNvPr id="29" name="Gleichschenkliges Dreieck 39">
            <a:extLst>
              <a:ext uri="{FF2B5EF4-FFF2-40B4-BE49-F238E27FC236}">
                <a16:creationId xmlns:a16="http://schemas.microsoft.com/office/drawing/2014/main" id="{BD5CCCA5-36A0-BFB5-BF70-FFAE2C0ABE05}"/>
              </a:ext>
            </a:extLst>
          </p:cNvPr>
          <p:cNvSpPr>
            <a:spLocks/>
          </p:cNvSpPr>
          <p:nvPr/>
        </p:nvSpPr>
        <p:spPr>
          <a:xfrm rot="5400000">
            <a:off x="7737837" y="3746608"/>
            <a:ext cx="296880" cy="156301"/>
          </a:xfrm>
          <a:custGeom>
            <a:avLst/>
            <a:gdLst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  <a:gd name="connsiteX3" fmla="*/ 0 w 303379"/>
              <a:gd name="connsiteY3" fmla="*/ 159723 h 159723"/>
              <a:gd name="connsiteX0" fmla="*/ 0 w 303379"/>
              <a:gd name="connsiteY0" fmla="*/ 159723 h 251163"/>
              <a:gd name="connsiteX1" fmla="*/ 151690 w 303379"/>
              <a:gd name="connsiteY1" fmla="*/ 0 h 251163"/>
              <a:gd name="connsiteX2" fmla="*/ 303379 w 303379"/>
              <a:gd name="connsiteY2" fmla="*/ 159723 h 251163"/>
              <a:gd name="connsiteX3" fmla="*/ 91440 w 303379"/>
              <a:gd name="connsiteY3" fmla="*/ 251163 h 251163"/>
              <a:gd name="connsiteX0" fmla="*/ 0 w 303379"/>
              <a:gd name="connsiteY0" fmla="*/ 159723 h 159723"/>
              <a:gd name="connsiteX1" fmla="*/ 151690 w 303379"/>
              <a:gd name="connsiteY1" fmla="*/ 0 h 159723"/>
              <a:gd name="connsiteX2" fmla="*/ 303379 w 303379"/>
              <a:gd name="connsiteY2" fmla="*/ 159723 h 1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3379" h="159723">
                <a:moveTo>
                  <a:pt x="0" y="159723"/>
                </a:moveTo>
                <a:lnTo>
                  <a:pt x="151690" y="0"/>
                </a:lnTo>
                <a:lnTo>
                  <a:pt x="303379" y="159723"/>
                </a:lnTo>
              </a:path>
            </a:pathLst>
          </a:custGeom>
          <a:noFill/>
          <a:ln w="3810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8221EF43-0370-313E-A585-2DE13FEFD2CD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</a:t>
            </a:r>
          </a:p>
        </p:txBody>
      </p:sp>
      <p:grpSp>
        <p:nvGrpSpPr>
          <p:cNvPr id="31" name="Gruppieren 41">
            <a:extLst>
              <a:ext uri="{FF2B5EF4-FFF2-40B4-BE49-F238E27FC236}">
                <a16:creationId xmlns:a16="http://schemas.microsoft.com/office/drawing/2014/main" id="{9054B6C2-60DF-4745-A831-5CB6FB0CB102}"/>
              </a:ext>
            </a:extLst>
          </p:cNvPr>
          <p:cNvGrpSpPr>
            <a:grpSpLocks/>
          </p:cNvGrpSpPr>
          <p:nvPr/>
        </p:nvGrpSpPr>
        <p:grpSpPr>
          <a:xfrm>
            <a:off x="1409171" y="3321611"/>
            <a:ext cx="2833372" cy="603838"/>
            <a:chOff x="1101249" y="1981108"/>
            <a:chExt cx="2895398" cy="617057"/>
          </a:xfrm>
        </p:grpSpPr>
        <p:sp>
          <p:nvSpPr>
            <p:cNvPr id="32" name="TextBox 17">
              <a:extLst>
                <a:ext uri="{FF2B5EF4-FFF2-40B4-BE49-F238E27FC236}">
                  <a16:creationId xmlns:a16="http://schemas.microsoft.com/office/drawing/2014/main" id="{FF05F142-C068-44FA-9315-A5D12EA551AE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101249" y="198110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Futura"/>
                </a:rPr>
                <a:t>{bullet_2}</a:t>
              </a:r>
            </a:p>
          </p:txBody>
        </p:sp>
        <p:sp>
          <p:nvSpPr>
            <p:cNvPr id="33" name="Subtitle 2">
              <a:extLst>
                <a:ext uri="{FF2B5EF4-FFF2-40B4-BE49-F238E27FC236}">
                  <a16:creationId xmlns:a16="http://schemas.microsoft.com/office/drawing/2014/main" id="{E9B4107E-D176-4C68-9BDB-D6835A570794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101249" y="2228833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Open Sans Light"/>
                </a:rPr>
                <a:t>{bullet_2_content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grpSp>
        <p:nvGrpSpPr>
          <p:cNvPr id="34" name="Gruppieren 41">
            <a:extLst>
              <a:ext uri="{FF2B5EF4-FFF2-40B4-BE49-F238E27FC236}">
                <a16:creationId xmlns:a16="http://schemas.microsoft.com/office/drawing/2014/main" id="{986D3408-747A-415C-B236-C432D5925654}"/>
              </a:ext>
            </a:extLst>
          </p:cNvPr>
          <p:cNvGrpSpPr>
            <a:grpSpLocks/>
          </p:cNvGrpSpPr>
          <p:nvPr/>
        </p:nvGrpSpPr>
        <p:grpSpPr>
          <a:xfrm>
            <a:off x="1455352" y="4315484"/>
            <a:ext cx="2833372" cy="603838"/>
            <a:chOff x="1101249" y="1981108"/>
            <a:chExt cx="2895398" cy="617057"/>
          </a:xfrm>
        </p:grpSpPr>
        <p:sp>
          <p:nvSpPr>
            <p:cNvPr id="35" name="TextBox 17">
              <a:extLst>
                <a:ext uri="{FF2B5EF4-FFF2-40B4-BE49-F238E27FC236}">
                  <a16:creationId xmlns:a16="http://schemas.microsoft.com/office/drawing/2014/main" id="{9180A6C6-315D-451F-8BDE-36FFC116D077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01249" y="198110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Futura"/>
                </a:rPr>
                <a:t>{bullet_3}</a:t>
              </a:r>
            </a:p>
          </p:txBody>
        </p:sp>
        <p:sp>
          <p:nvSpPr>
            <p:cNvPr id="36" name="Subtitle 2">
              <a:extLst>
                <a:ext uri="{FF2B5EF4-FFF2-40B4-BE49-F238E27FC236}">
                  <a16:creationId xmlns:a16="http://schemas.microsoft.com/office/drawing/2014/main" id="{A1423285-03B1-4D77-B887-B69354570C69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101249" y="2228833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Open Sans Light"/>
                </a:rPr>
                <a:t>{bullet_3_content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  <p:grpSp>
        <p:nvGrpSpPr>
          <p:cNvPr id="37" name="Gruppieren 41">
            <a:extLst>
              <a:ext uri="{FF2B5EF4-FFF2-40B4-BE49-F238E27FC236}">
                <a16:creationId xmlns:a16="http://schemas.microsoft.com/office/drawing/2014/main" id="{9FC7A0F0-F458-49F0-B15C-DD8646D54452}"/>
              </a:ext>
            </a:extLst>
          </p:cNvPr>
          <p:cNvGrpSpPr>
            <a:grpSpLocks/>
          </p:cNvGrpSpPr>
          <p:nvPr/>
        </p:nvGrpSpPr>
        <p:grpSpPr>
          <a:xfrm>
            <a:off x="1455352" y="5441802"/>
            <a:ext cx="2833372" cy="603838"/>
            <a:chOff x="1101249" y="1981108"/>
            <a:chExt cx="2895398" cy="617057"/>
          </a:xfrm>
        </p:grpSpPr>
        <p:sp>
          <p:nvSpPr>
            <p:cNvPr id="38" name="TextBox 17">
              <a:extLst>
                <a:ext uri="{FF2B5EF4-FFF2-40B4-BE49-F238E27FC236}">
                  <a16:creationId xmlns:a16="http://schemas.microsoft.com/office/drawing/2014/main" id="{56E23FCB-9656-4442-B507-75FBFD7DB347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101249" y="1981108"/>
              <a:ext cx="2895398" cy="220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3522D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  <a:sym typeface="Futura"/>
                </a:rPr>
                <a:t>{bullet_4}</a:t>
              </a:r>
            </a:p>
          </p:txBody>
        </p:sp>
        <p:sp>
          <p:nvSpPr>
            <p:cNvPr id="39" name="Subtitle 2">
              <a:extLst>
                <a:ext uri="{FF2B5EF4-FFF2-40B4-BE49-F238E27FC236}">
                  <a16:creationId xmlns:a16="http://schemas.microsoft.com/office/drawing/2014/main" id="{075F6158-2DAF-4E3F-A86B-6D7DA7441A9E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01249" y="2228833"/>
              <a:ext cx="2895398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Open Sans Light"/>
                </a:rPr>
                <a:t>{bullet_4_content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1645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62</Words>
  <Application>Microsoft Office PowerPoint</Application>
  <PresentationFormat>宽屏</PresentationFormat>
  <Paragraphs>1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Futura</vt:lpstr>
      <vt:lpstr>Lato Light</vt:lpstr>
      <vt:lpstr>LiciumFont 2022 Bold</vt:lpstr>
      <vt:lpstr>Mukta ExtraLight</vt:lpstr>
      <vt:lpstr>Open Sans Ligh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6:01:31Z</dcterms:created>
  <dcterms:modified xsi:type="dcterms:W3CDTF">2025-08-27T06:06:48Z</dcterms:modified>
</cp:coreProperties>
</file>